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8" r:id="rId2"/>
  </p:sldIdLst>
  <p:sldSz cx="12192000" cy="6858000"/>
  <p:notesSz cx="6858000" cy="9144000"/>
  <p:custDataLst>
    <p:tags r:id="rId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13C"/>
    <a:srgbClr val="FCC41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0035" autoAdjust="0"/>
    <p:restoredTop sz="94660"/>
  </p:normalViewPr>
  <p:slideViewPr>
    <p:cSldViewPr snapToGrid="0">
      <p:cViewPr varScale="1">
        <p:scale>
          <a:sx n="67" d="100"/>
          <a:sy n="67" d="100"/>
        </p:scale>
        <p:origin x="452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C99CF0-4CE1-49D0-BC9E-5247F7BBB98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E8E8E47-D838-41A2-B9FE-04A4DFFE5EF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DB44920-82A0-4C12-A38B-4FF4132C479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23F1BD-3A04-4118-B75B-49BD3F81EE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63BC624-5678-4A93-BD4D-6011F9C278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471549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9D89B2-3D0C-49F5-8DA3-C0F5B08EA4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C7167DD-0178-478A-861A-78FBEBB4D42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A0F5F6C-5824-4A9C-8CF4-2A17A8921CD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4B9C1-6845-431C-8A30-A78505EC3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87399D-AB65-4ADF-8F98-7F03EC1A71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4373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DD5836B-B6F5-4E62-AEF7-E6BBEEACD638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C8DA99-A371-4ED5-B568-CB148861F2FB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D0AAC2-4237-4A0C-B551-5EDB809B97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681F645-2068-4026-B2B1-5CDAC52B34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DB945F-FCB1-406D-B3C2-764638A02F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6890394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64F47-F8D9-4FF5-8866-8F08637CDD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4171B20-B125-45A8-927D-0A24651F3F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9A6CF6E-12FA-4598-931F-9654858FC2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4E35517-7BC9-4174-9D29-59FE9BA0DA5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49D11C1-7D62-4B2D-920B-CF962449FA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9220875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FF2AE0-3548-4947-9ABF-BE2092D1E5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3D2F32-6CDB-46A9-8EFB-4DA34FEFBAE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58FAD1-8B4F-4FA0-AD09-9BF949444E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FE5134-4302-413C-AC24-A02C1DAD8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11B69A-A509-4974-BE05-67CD0E977B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982317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36BC3-7E70-4EDE-A60D-9CCD5028C3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54082E6-BD5E-458E-903C-D0E454119F2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3D9AA58-F442-4A04-998E-D808686358F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CBB6B49-F318-4E2A-A576-C312644352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89669A4-0E6C-4B9E-8E83-36554D4D75B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5A92103-F303-4C9F-9B51-F4E0C123694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26524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0EDF9E9-679F-4EF6-9521-25DD6A089E5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D2BB101-2CB9-4B3D-B408-83CA5C52B9B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A0CC000-CB00-4CA7-9785-9CD4A0D78F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6CADE72-8A80-42C8-9209-70240BEA350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99CA117-704A-460A-9ED2-A0300FC616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3E8FAE8-4A3B-4FA9-9EBF-182E20C4BF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DC1D8A6-AD69-4C30-8DF1-9E8C862EE9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314C3AF-8740-45D5-86C9-BF2E6B07E5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67435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60B63D-072D-4AA9-931B-DB40B5DB45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7612B72-97BF-49F9-8345-4C57FA0DA1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22512BD-88B7-48E5-9D41-316094FA18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8B1BF6-FF82-4465-81FE-8226985CF4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7357154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F0407823-41C6-479A-B995-AE54497850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58676E1F-CBDF-43E2-8D6B-711165FE63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7F205C1-15E2-463B-A251-EE6C9DAC38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536561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C21047-19AA-450E-B284-B7A1D99EDB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212908-CBD1-4E3F-9CE6-0CD62601435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B367887-E98D-4420-AE38-C4E3074E63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9818D1A-D567-40FF-902B-368B15B6D2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CCA97E1-9DB9-46C6-8F87-44CC2B5FB1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A8B180C-242E-4A45-9E51-97982CE9DA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6841863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230AA4B-E3F3-4E70-BA93-35D77673AC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DA54D1D-8E26-4124-8641-15C9C46AD9A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CA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F3D2B34-0BF2-4651-9D32-03F458A297F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8E8C62B-A110-4EF7-B9CA-B67489D7857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602097-BE34-4DAD-A74C-445367EA3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68A66FD-6D72-4971-8F55-C8027A385A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5943236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2D66A6E-87BE-4740-BC25-F625E66BF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CA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3B1381C-A16B-495E-BF06-0323C0B5A4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CA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A7210FB-1BC5-416E-B583-258929CBB9B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8CF4AD-424E-491A-B9C4-2D55EE477E11}" type="datetimeFigureOut">
              <a:rPr lang="en-CA" smtClean="0"/>
              <a:t>2019-01-18</a:t>
            </a:fld>
            <a:endParaRPr lang="en-CA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6042195-E54C-4012-B855-E4F02389D1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CECC2B-511E-430F-B765-0B56AD791D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2FEEFBD-EB6E-4D67-AB21-3554D541865B}" type="slidenum">
              <a:rPr lang="en-CA" smtClean="0"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84489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C961B695-BF51-AE4A-8D85-2CC26395BB9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3048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Diapositiva de think-cell" r:id="rId5" imgW="7772400" imgH="10058400" progId="TCLayout.ActiveDocument.1">
                  <p:embed/>
                </p:oleObj>
              </mc:Choice>
              <mc:Fallback>
                <p:oleObj name="Diapositiva de think-cell" r:id="rId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ángulo 4" hidden="1">
            <a:extLst>
              <a:ext uri="{FF2B5EF4-FFF2-40B4-BE49-F238E27FC236}">
                <a16:creationId xmlns:a16="http://schemas.microsoft.com/office/drawing/2014/main" id="{DCDE7AB0-40A0-B94A-BE5C-B4ACC5A95876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CA" b="1" dirty="0">
              <a:latin typeface="Arial" panose="020B0604020202020204" pitchFamily="34" charset="0"/>
              <a:ea typeface="+mj-ea"/>
              <a:sym typeface="Arial" panose="020B0604020202020204" pitchFamily="34" charset="0"/>
            </a:endParaRPr>
          </a:p>
        </p:txBody>
      </p:sp>
      <p:sp>
        <p:nvSpPr>
          <p:cNvPr id="24" name="Rectángulo 23">
            <a:extLst>
              <a:ext uri="{FF2B5EF4-FFF2-40B4-BE49-F238E27FC236}">
                <a16:creationId xmlns:a16="http://schemas.microsoft.com/office/drawing/2014/main" id="{8B93C513-7480-A84F-87D9-05B014A5193E}"/>
              </a:ext>
            </a:extLst>
          </p:cNvPr>
          <p:cNvSpPr/>
          <p:nvPr/>
        </p:nvSpPr>
        <p:spPr>
          <a:xfrm>
            <a:off x="233335" y="975519"/>
            <a:ext cx="6938010" cy="5559539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A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ángulo 21">
            <a:extLst>
              <a:ext uri="{FF2B5EF4-FFF2-40B4-BE49-F238E27FC236}">
                <a16:creationId xmlns:a16="http://schemas.microsoft.com/office/drawing/2014/main" id="{948E293B-7FB3-9E46-9522-4F7C8C87E14F}"/>
              </a:ext>
            </a:extLst>
          </p:cNvPr>
          <p:cNvSpPr/>
          <p:nvPr/>
        </p:nvSpPr>
        <p:spPr>
          <a:xfrm>
            <a:off x="11400000" y="-1"/>
            <a:ext cx="792000" cy="79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CA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ángulo 11">
            <a:extLst>
              <a:ext uri="{FF2B5EF4-FFF2-40B4-BE49-F238E27FC236}">
                <a16:creationId xmlns:a16="http://schemas.microsoft.com/office/drawing/2014/main" id="{7025E6DC-6AEF-2648-9851-4ABDEEAFE050}"/>
              </a:ext>
            </a:extLst>
          </p:cNvPr>
          <p:cNvSpPr/>
          <p:nvPr/>
        </p:nvSpPr>
        <p:spPr>
          <a:xfrm flipH="1">
            <a:off x="8250744" y="1034764"/>
            <a:ext cx="3599253" cy="729498"/>
          </a:xfrm>
          <a:prstGeom prst="rect">
            <a:avLst/>
          </a:prstGeom>
          <a:solidFill>
            <a:srgbClr val="FCC4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62096375-62F1-6549-8C84-76FB50BEB8C6}"/>
              </a:ext>
            </a:extLst>
          </p:cNvPr>
          <p:cNvSpPr/>
          <p:nvPr/>
        </p:nvSpPr>
        <p:spPr>
          <a:xfrm>
            <a:off x="0" y="0"/>
            <a:ext cx="11361420" cy="79200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Platform for peer to peer local renewable energy</a:t>
            </a:r>
            <a:endParaRPr lang="en-CA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C6B87C0-466F-468C-9D5D-8BA1463AFB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398860" y="155436"/>
            <a:ext cx="1791110" cy="466726"/>
          </a:xfrm>
        </p:spPr>
        <p:txBody>
          <a:bodyPr>
            <a:normAutofit/>
          </a:bodyPr>
          <a:lstStyle/>
          <a:p>
            <a:r>
              <a:rPr lang="en-CA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usiness idea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283C557-24FD-47F3-BF89-9A8D948FFB30}"/>
              </a:ext>
            </a:extLst>
          </p:cNvPr>
          <p:cNvPicPr>
            <a:picLocks noChangeAspect="1"/>
          </p:cNvPicPr>
          <p:nvPr/>
        </p:nvPicPr>
        <p:blipFill>
          <a:blip r:embed="rId7">
            <a:clrChange>
              <a:clrFrom>
                <a:srgbClr val="FBFBFB"/>
              </a:clrFrom>
              <a:clrTo>
                <a:srgbClr val="FBFBFB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16308" y="1993131"/>
            <a:ext cx="6502503" cy="2584845"/>
          </a:xfrm>
          <a:prstGeom prst="rect">
            <a:avLst/>
          </a:prstGeom>
        </p:spPr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CF787FC-17CE-4093-9C8E-2C46B85F424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30572" y="4665613"/>
            <a:ext cx="6573148" cy="1781808"/>
          </a:xfrm>
        </p:spPr>
        <p:txBody>
          <a:bodyPr>
            <a:normAutofit/>
          </a:bodyPr>
          <a:lstStyle/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More households in small companies are investing in smart meters, energy storages and even solar panels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To tackle climate change we have to integrate renewable energy resources into the power grid</a:t>
            </a:r>
          </a:p>
          <a:p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It allows a simple way to enable a peer-to-peer market for producers and consumers of energy → inspired by sharing economy</a:t>
            </a:r>
            <a:endParaRPr lang="en-CA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7FD1AED-103E-4855-BEDD-DE637645106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50745" y="1137903"/>
            <a:ext cx="3599253" cy="523220"/>
          </a:xfrm>
          <a:prstGeom prst="rect">
            <a:avLst/>
          </a:prstGeom>
        </p:spPr>
      </p:pic>
      <p:sp>
        <p:nvSpPr>
          <p:cNvPr id="11" name="Rectángulo 10">
            <a:extLst>
              <a:ext uri="{FF2B5EF4-FFF2-40B4-BE49-F238E27FC236}">
                <a16:creationId xmlns:a16="http://schemas.microsoft.com/office/drawing/2014/main" id="{2EC8045E-BC00-8C4F-88E4-1A842569314E}"/>
              </a:ext>
            </a:extLst>
          </p:cNvPr>
          <p:cNvSpPr/>
          <p:nvPr/>
        </p:nvSpPr>
        <p:spPr>
          <a:xfrm flipH="1">
            <a:off x="8250744" y="1867401"/>
            <a:ext cx="3599253" cy="4580019"/>
          </a:xfrm>
          <a:prstGeom prst="rect">
            <a:avLst/>
          </a:prstGeom>
          <a:solidFill>
            <a:srgbClr val="FCC41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b="1" dirty="0">
                <a:latin typeface="Arial" panose="020B0604020202020204" pitchFamily="34" charset="0"/>
                <a:cs typeface="Arial" panose="020B0604020202020204" pitchFamily="34" charset="0"/>
              </a:rPr>
              <a:t>Our proposal would have full impact on the SDG #7 – Affordable and clean energy. Therefore, it would impact on the following aspects of the energy supply for local communiti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Better usage of available energ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Empowerment of sustainable and profitable energy utiliz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Promotion of green and alternative energ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Development of a local community (peer-2-pe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Less need of energy transportation, reducing both costs and contamination</a:t>
            </a:r>
          </a:p>
        </p:txBody>
      </p:sp>
      <p:sp>
        <p:nvSpPr>
          <p:cNvPr id="15" name="TextBox 7">
            <a:extLst>
              <a:ext uri="{FF2B5EF4-FFF2-40B4-BE49-F238E27FC236}">
                <a16:creationId xmlns:a16="http://schemas.microsoft.com/office/drawing/2014/main" id="{78F465E4-47AE-A944-9A78-25E40F110E4C}"/>
              </a:ext>
            </a:extLst>
          </p:cNvPr>
          <p:cNvSpPr txBox="1"/>
          <p:nvPr/>
        </p:nvSpPr>
        <p:spPr>
          <a:xfrm>
            <a:off x="330572" y="1126072"/>
            <a:ext cx="672395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reate a platform to provide local communities with peer to peer renewable energy</a:t>
            </a:r>
            <a:endParaRPr lang="en-CA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riángulo 6">
            <a:extLst>
              <a:ext uri="{FF2B5EF4-FFF2-40B4-BE49-F238E27FC236}">
                <a16:creationId xmlns:a16="http://schemas.microsoft.com/office/drawing/2014/main" id="{8DEE6202-877F-704C-804C-CE427A97C067}"/>
              </a:ext>
            </a:extLst>
          </p:cNvPr>
          <p:cNvSpPr/>
          <p:nvPr/>
        </p:nvSpPr>
        <p:spPr>
          <a:xfrm rot="5400000">
            <a:off x="5627795" y="3568077"/>
            <a:ext cx="4166497" cy="374422"/>
          </a:xfrm>
          <a:prstGeom prst="triangl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s-ES"/>
          </a:p>
        </p:txBody>
      </p:sp>
      <p:pic>
        <p:nvPicPr>
          <p:cNvPr id="9" name="Imagen 8">
            <a:extLst>
              <a:ext uri="{FF2B5EF4-FFF2-40B4-BE49-F238E27FC236}">
                <a16:creationId xmlns:a16="http://schemas.microsoft.com/office/drawing/2014/main" id="{E2D2A97D-2858-B848-8CF9-504FED54F865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528915" y="163903"/>
            <a:ext cx="557030" cy="464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574301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o.Pr4TQ7W4KKlZlZHaB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4</TotalTime>
  <Words>148</Words>
  <Application>Microsoft Office PowerPoint</Application>
  <PresentationFormat>Widescreen</PresentationFormat>
  <Paragraphs>1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Office Theme</vt:lpstr>
      <vt:lpstr>Diapositiva de think-cell</vt:lpstr>
      <vt:lpstr>Business idea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idea</dc:title>
  <dc:creator>Daphnée O hurley bland</dc:creator>
  <cp:lastModifiedBy>Daphnée O hurley bland</cp:lastModifiedBy>
  <cp:revision>9</cp:revision>
  <dcterms:created xsi:type="dcterms:W3CDTF">2019-01-15T17:00:23Z</dcterms:created>
  <dcterms:modified xsi:type="dcterms:W3CDTF">2019-01-18T06:50:12Z</dcterms:modified>
</cp:coreProperties>
</file>